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"/>
  </p:notesMasterIdLst>
  <p:handoutMasterIdLst>
    <p:handoutMasterId r:id="rId8"/>
  </p:handoutMasterIdLst>
  <p:sldIdLst>
    <p:sldId id="656" r:id="rId3"/>
    <p:sldId id="910" r:id="rId4"/>
    <p:sldId id="908" r:id="rId5"/>
    <p:sldId id="909" r:id="rId6"/>
  </p:sldIdLst>
  <p:sldSz cx="12192000" cy="6858000"/>
  <p:notesSz cx="6805613" cy="9944100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70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58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  <p15:guide id="15" orient="horz" pos="15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5DAE"/>
    <a:srgbClr val="2D2B8D"/>
    <a:srgbClr val="0073B8"/>
    <a:srgbClr val="6D86C4"/>
    <a:srgbClr val="FF4747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43" autoAdjust="0"/>
    <p:restoredTop sz="96408" autoAdjust="0"/>
  </p:normalViewPr>
  <p:slideViewPr>
    <p:cSldViewPr snapToGrid="0">
      <p:cViewPr varScale="1">
        <p:scale>
          <a:sx n="115" d="100"/>
          <a:sy n="115" d="100"/>
        </p:scale>
        <p:origin x="432" y="108"/>
      </p:cViewPr>
      <p:guideLst>
        <p:guide pos="279"/>
        <p:guide pos="3840"/>
        <p:guide pos="7355"/>
        <p:guide orient="horz" pos="3203"/>
        <p:guide orient="horz" pos="3770"/>
        <p:guide orient="horz" pos="1525"/>
        <p:guide pos="1958"/>
        <p:guide orient="horz" pos="1003"/>
        <p:guide orient="horz" pos="550"/>
        <p:guide pos="2593"/>
        <p:guide orient="horz" pos="187"/>
        <p:guide orient="horz" pos="1501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E0B01-5135-4C2C-8993-28414D4B3686}" type="datetimeFigureOut">
              <a:rPr lang="ru-RU" smtClean="0"/>
              <a:t>04.10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374D61-2BC5-456A-87AC-0423C80EC8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953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04.10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766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04557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81173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4.10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4.10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4.10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73E46-0FBB-4229-8CBB-09B80B167E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290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3557EA-3183-4660-8887-18C9CD5B6E0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3669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F90D3-F678-4AA2-BC13-F0EC35626B6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19209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AC885-7A1B-43F1-B6BC-ED1A2B1ACC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51233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E4AC57-9A0D-4DE7-838A-D5602519448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9717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A0E761-F77E-4A44-9560-BCDED5BAEA7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63948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EEF47A-FFA2-487B-BADC-239AA6539AA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23477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47C012-AF97-4E12-B15C-9F146888FEC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98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4.10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3B024-6757-4AF0-8BCF-365FC435FEB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88911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8878E5-7E8C-468C-B0D8-54E5FDFA2C0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7849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26D4D7-FBB8-45CF-B201-8D5D147BA64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6060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4.10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4.10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4.10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4.10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4.10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4.10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4.10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04.10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18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336A5C21-8560-4361-BC34-8E7691E5D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20AD9F-A03A-4659-8941-6477DDD5F1F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421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Relationship Id="rId9" Type="http://schemas.openxmlformats.org/officeDocument/2006/relationships/image" Target="NUL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jpeg"/><Relationship Id="rId12" Type="http://schemas.openxmlformats.org/officeDocument/2006/relationships/image" Target="../media/image10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9.jpe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13.jpeg"/><Relationship Id="rId10" Type="http://schemas.openxmlformats.org/officeDocument/2006/relationships/image" Target="../media/image8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.jpeg"/><Relationship Id="rId1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84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ОКТЯБРЯ </a:t>
            </a: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2021</a:t>
            </a:r>
            <a:endParaRPr lang="ru-RU" sz="5400" dirty="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4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717731" y="2129838"/>
            <a:ext cx="4607542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ррекционная педагогика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grpSp>
        <p:nvGrpSpPr>
          <p:cNvPr id="14" name="Группа 13"/>
          <p:cNvGrpSpPr/>
          <p:nvPr/>
        </p:nvGrpSpPr>
        <p:grpSpPr>
          <a:xfrm>
            <a:off x="7483075" y="2245973"/>
            <a:ext cx="728340" cy="728336"/>
            <a:chOff x="7559745" y="1617031"/>
            <a:chExt cx="728340" cy="728336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6" name="Рисунок 15" descr="Попасть в яблочко">
              <a:extLst>
                <a:ext uri="{FF2B5EF4-FFF2-40B4-BE49-F238E27FC236}">
                  <a16:creationId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17" name="Прямоугольник 16"/>
          <p:cNvSpPr/>
          <p:nvPr/>
        </p:nvSpPr>
        <p:spPr>
          <a:xfrm>
            <a:off x="8379948" y="2435700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ные программ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304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7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355632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Серия</a:t>
            </a:r>
            <a:r>
              <a:rPr lang="ru-RU" dirty="0"/>
              <a:t> </a:t>
            </a:r>
            <a:r>
              <a:rPr lang="ru-RU" dirty="0" smtClean="0"/>
              <a:t>«</a:t>
            </a:r>
            <a:r>
              <a:rPr lang="ru-RU" dirty="0"/>
              <a:t>ФГОС ОВЗ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198518" y="1484396"/>
            <a:ext cx="7593201" cy="34419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prstClr val="black"/>
                </a:solidFill>
              </a:rPr>
              <a:t>Примерные рабочие программы по учебным предметам и коррекционным </a:t>
            </a:r>
            <a:r>
              <a:rPr lang="ru-RU" sz="1400" dirty="0" smtClean="0">
                <a:solidFill>
                  <a:prstClr val="black"/>
                </a:solidFill>
              </a:rPr>
              <a:t>курсам </a:t>
            </a:r>
            <a:r>
              <a:rPr lang="ru-RU" sz="1400" dirty="0" smtClean="0"/>
              <a:t>разработаны </a:t>
            </a:r>
            <a:r>
              <a:rPr lang="ru-RU" sz="1400" dirty="0"/>
              <a:t>в соответствии с требованиями ФГОС НОО обучающихся с ОВЗ для </a:t>
            </a:r>
            <a:r>
              <a:rPr lang="ru-RU" sz="1400" dirty="0" smtClean="0"/>
              <a:t>2 классов.</a:t>
            </a:r>
          </a:p>
          <a:p>
            <a:pPr algn="just"/>
            <a:endParaRPr lang="ru-RU" sz="1400" dirty="0" smtClean="0"/>
          </a:p>
          <a:p>
            <a:pPr algn="just">
              <a:spcAft>
                <a:spcPts val="600"/>
              </a:spcAft>
            </a:pPr>
            <a:r>
              <a:rPr lang="ru-RU" sz="1400" dirty="0" smtClean="0"/>
              <a:t>Каждая </a:t>
            </a:r>
            <a:r>
              <a:rPr lang="ru-RU" sz="1400" dirty="0"/>
              <a:t>примерная рабочая программа содержит: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пояснительную записку;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основное содержание учебного предмета, коррекционного курса;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календарно-тематическое планирование;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рекомендации по учебно-методическому и материально-техническому обеспечению образовательной деятельности;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планируемые результаты изучения учебного предмета, курса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ru-RU" sz="1400" dirty="0" smtClean="0"/>
          </a:p>
          <a:p>
            <a:pPr algn="just"/>
            <a:r>
              <a:rPr lang="ru-RU" sz="1400" dirty="0"/>
              <a:t>Все программы одобрены решением федерального учебно-методического объединения по общему образованию (протокол №3/20 от 17.09.2020)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ru-RU" sz="1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824" y="1451642"/>
            <a:ext cx="2613429" cy="34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 descr="Y:\Мои файлы\2021\Программы 2-3 классы\Обложки\40-1291-01_cover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7632" y="5052132"/>
            <a:ext cx="1237217" cy="16535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 descr="Y:\Мои файлы\2021\Программы 2-3 классы\Обложки\40-1293-01_cover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824" y="5052132"/>
            <a:ext cx="1263650" cy="16535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 descr="Y:\Мои файлы\2021\Программы 2-3 классы\Обложки\40-1289-01_cover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0007" y="5046417"/>
            <a:ext cx="1268095" cy="16592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Рисунок 12" descr="Y:\Мои файлы\2021\Программы 2-3 классы\Обложки\40-1295-01_cover.jp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3260" y="5046417"/>
            <a:ext cx="1248410" cy="1633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 descr="Y:\Мои файлы\2021\Программы 2-3 классы\Обложки\40-1301-01_cover.jpg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829" y="5046417"/>
            <a:ext cx="1259580" cy="1633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Рисунок 15" descr="Y:\Мои файлы\2021\Программы 2-3 классы\Обложки\40-1299-01_cover.jpg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245" y="5041660"/>
            <a:ext cx="1251585" cy="1638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Рисунок 16" descr="Y:\Мои файлы\2021\Программы 2-3 классы\Обложки\40-1303-01_cover.jpg"/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2814" y="5052133"/>
            <a:ext cx="1193662" cy="16278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Рисунок 17" descr="Y:\Мои файлы\2021\Программы 2-3 классы\Обложки\40-1305-01_cover.jpg"/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7994" y="5052132"/>
            <a:ext cx="1191049" cy="16278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6190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9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1500701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355632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Серия</a:t>
            </a:r>
            <a:r>
              <a:rPr lang="ru-RU" dirty="0"/>
              <a:t> </a:t>
            </a:r>
            <a:r>
              <a:rPr lang="ru-RU" dirty="0" smtClean="0"/>
              <a:t>«</a:t>
            </a:r>
            <a:r>
              <a:rPr lang="ru-RU" dirty="0"/>
              <a:t>ФГОС ОВЗ</a:t>
            </a:r>
            <a:r>
              <a:rPr lang="ru-RU" dirty="0" smtClean="0"/>
              <a:t>»</a:t>
            </a:r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8466559"/>
              </p:ext>
            </p:extLst>
          </p:nvPr>
        </p:nvGraphicFramePr>
        <p:xfrm>
          <a:off x="363656" y="1452535"/>
          <a:ext cx="11241155" cy="3766444"/>
        </p:xfrm>
        <a:graphic>
          <a:graphicData uri="http://schemas.openxmlformats.org/drawingml/2006/table">
            <a:tbl>
              <a:tblPr/>
              <a:tblGrid>
                <a:gridCol w="748759">
                  <a:extLst>
                    <a:ext uri="{9D8B030D-6E8A-4147-A177-3AD203B41FA5}">
                      <a16:colId xmlns:a16="http://schemas.microsoft.com/office/drawing/2014/main" val="4244176869"/>
                    </a:ext>
                  </a:extLst>
                </a:gridCol>
                <a:gridCol w="8103220">
                  <a:extLst>
                    <a:ext uri="{9D8B030D-6E8A-4147-A177-3AD203B41FA5}">
                      <a16:colId xmlns:a16="http://schemas.microsoft.com/office/drawing/2014/main" val="615967520"/>
                    </a:ext>
                  </a:extLst>
                </a:gridCol>
                <a:gridCol w="699492">
                  <a:extLst>
                    <a:ext uri="{9D8B030D-6E8A-4147-A177-3AD203B41FA5}">
                      <a16:colId xmlns:a16="http://schemas.microsoft.com/office/drawing/2014/main" val="3585334052"/>
                    </a:ext>
                  </a:extLst>
                </a:gridCol>
                <a:gridCol w="855967">
                  <a:extLst>
                    <a:ext uri="{9D8B030D-6E8A-4147-A177-3AD203B41FA5}">
                      <a16:colId xmlns:a16="http://schemas.microsoft.com/office/drawing/2014/main" val="1008523400"/>
                    </a:ext>
                  </a:extLst>
                </a:gridCol>
                <a:gridCol w="833717">
                  <a:extLst>
                    <a:ext uri="{9D8B030D-6E8A-4147-A177-3AD203B41FA5}">
                      <a16:colId xmlns:a16="http://schemas.microsoft.com/office/drawing/2014/main" val="2344288815"/>
                    </a:ext>
                  </a:extLst>
                </a:gridCol>
              </a:tblGrid>
              <a:tr h="4208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д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именование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ормат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-во страниц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расочность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183790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301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обучающихся с задержкой психического развития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3451141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1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слабослышащих и позднооглохших обучающихся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ы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, 2.3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4573924"/>
                  </a:ext>
                </a:extLst>
              </a:tr>
              <a:tr h="3103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89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глухих обучающихся. Варианты 1.2, 1.3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7049805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7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обучающихся с тяжёлыми нарушениями речи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69677159"/>
                  </a:ext>
                </a:extLst>
              </a:tr>
              <a:tr h="3103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9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обучающихся с НОДА. Варианты 6.2, 6.3.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828977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305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образования обучающихся с умственной отсталостью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ы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 2.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30590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303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обучающихся с расстройствами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утистич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спектра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ы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, 8.3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80998"/>
                  </a:ext>
                </a:extLst>
              </a:tr>
              <a:tr h="3103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5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слабовидящих обучающихся. Варианты 4.2, 4.3.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71779459"/>
                  </a:ext>
                </a:extLst>
              </a:tr>
              <a:tr h="3103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3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слепых обучающихся. Варианты 3.2, 3.3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9892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374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69</TotalTime>
  <Words>348</Words>
  <Application>Microsoft Office PowerPoint</Application>
  <PresentationFormat>Широкоэкранный</PresentationFormat>
  <Paragraphs>72</Paragraphs>
  <Slides>4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4" baseType="lpstr">
      <vt:lpstr>Arial</vt:lpstr>
      <vt:lpstr>Calibri</vt:lpstr>
      <vt:lpstr>Calibri Light</vt:lpstr>
      <vt:lpstr>Open Sans</vt:lpstr>
      <vt:lpstr>Open Sans Extrabold</vt:lpstr>
      <vt:lpstr>Open Sans Light</vt:lpstr>
      <vt:lpstr>Wingdings</vt:lpstr>
      <vt:lpstr>Тема Office</vt:lpstr>
      <vt:lpstr>5_Тема Office</vt:lpstr>
      <vt:lpstr>Слайд think-cell</vt:lpstr>
      <vt:lpstr>НОВИНКИ ОКТЯБРЯ 2021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Романова Мария Олеговна</cp:lastModifiedBy>
  <cp:revision>1233</cp:revision>
  <cp:lastPrinted>2021-03-09T13:01:30Z</cp:lastPrinted>
  <dcterms:created xsi:type="dcterms:W3CDTF">2018-07-24T05:59:49Z</dcterms:created>
  <dcterms:modified xsi:type="dcterms:W3CDTF">2021-10-04T08:10:16Z</dcterms:modified>
</cp:coreProperties>
</file>